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C3620-82B1-4253-8B07-BCBBC6B4A1A4}" type="datetimeFigureOut">
              <a:rPr lang="zh-CN" altLang="en-US" smtClean="0"/>
              <a:t>2025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961577-8B37-4376-8CF5-31ACF870F2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58849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614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29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10477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37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23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2368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08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40385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4.emf"/><Relationship Id="rId26" Type="http://schemas.openxmlformats.org/officeDocument/2006/relationships/image" Target="../media/image12.svg"/><Relationship Id="rId3" Type="http://schemas.openxmlformats.org/officeDocument/2006/relationships/tags" Target="../tags/tag6.xml"/><Relationship Id="rId21" Type="http://schemas.openxmlformats.org/officeDocument/2006/relationships/image" Target="../media/image7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5.bin"/><Relationship Id="rId25" Type="http://schemas.openxmlformats.org/officeDocument/2006/relationships/image" Target="../media/image11.png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20" Type="http://schemas.openxmlformats.org/officeDocument/2006/relationships/image" Target="../media/image6.svg"/><Relationship Id="rId29" Type="http://schemas.openxmlformats.org/officeDocument/2006/relationships/image" Target="../media/image15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0.svg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23" Type="http://schemas.openxmlformats.org/officeDocument/2006/relationships/image" Target="../media/image9.png"/><Relationship Id="rId28" Type="http://schemas.openxmlformats.org/officeDocument/2006/relationships/image" Target="../media/image14.svg"/><Relationship Id="rId10" Type="http://schemas.openxmlformats.org/officeDocument/2006/relationships/tags" Target="../tags/tag13.xml"/><Relationship Id="rId19" Type="http://schemas.openxmlformats.org/officeDocument/2006/relationships/image" Target="../media/image5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8.svg"/><Relationship Id="rId27" Type="http://schemas.openxmlformats.org/officeDocument/2006/relationships/image" Target="../media/image13.png"/><Relationship Id="rId30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itle 35">
            <a:extLst>
              <a:ext uri="{FF2B5EF4-FFF2-40B4-BE49-F238E27FC236}">
                <a16:creationId xmlns:a16="http://schemas.microsoft.com/office/drawing/2014/main" id="{B71FBAC9-46A1-A068-81DD-3D03C7CDA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B29D87B-705B-02FB-DEB8-4A275376C51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230843" y="1557339"/>
            <a:ext cx="817995" cy="970849"/>
          </a:xfrm>
          <a:custGeom>
            <a:avLst/>
            <a:gdLst>
              <a:gd name="T0" fmla="*/ 0 w 393"/>
              <a:gd name="T1" fmla="*/ 162 h 387"/>
              <a:gd name="T2" fmla="*/ 393 w 393"/>
              <a:gd name="T3" fmla="*/ 0 h 387"/>
              <a:gd name="T4" fmla="*/ 393 w 393"/>
              <a:gd name="T5" fmla="*/ 387 h 387"/>
              <a:gd name="T6" fmla="*/ 0 w 393"/>
              <a:gd name="T7" fmla="*/ 387 h 387"/>
              <a:gd name="T8" fmla="*/ 0 w 393"/>
              <a:gd name="T9" fmla="*/ 162 h 387"/>
              <a:gd name="T10" fmla="*/ 0 w 393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3" h="387">
                <a:moveTo>
                  <a:pt x="0" y="162"/>
                </a:moveTo>
                <a:lnTo>
                  <a:pt x="393" y="0"/>
                </a:lnTo>
                <a:lnTo>
                  <a:pt x="393" y="387"/>
                </a:lnTo>
                <a:lnTo>
                  <a:pt x="0" y="387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C3A6929F-4EC6-C202-695D-CB0A200F230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048839" y="1557339"/>
            <a:ext cx="834646" cy="970849"/>
          </a:xfrm>
          <a:custGeom>
            <a:avLst/>
            <a:gdLst>
              <a:gd name="T0" fmla="*/ 401 w 401"/>
              <a:gd name="T1" fmla="*/ 162 h 387"/>
              <a:gd name="T2" fmla="*/ 0 w 401"/>
              <a:gd name="T3" fmla="*/ 0 h 387"/>
              <a:gd name="T4" fmla="*/ 0 w 401"/>
              <a:gd name="T5" fmla="*/ 387 h 387"/>
              <a:gd name="T6" fmla="*/ 401 w 401"/>
              <a:gd name="T7" fmla="*/ 387 h 387"/>
              <a:gd name="T8" fmla="*/ 401 w 401"/>
              <a:gd name="T9" fmla="*/ 162 h 387"/>
              <a:gd name="T10" fmla="*/ 401 w 401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1" h="387">
                <a:moveTo>
                  <a:pt x="401" y="162"/>
                </a:moveTo>
                <a:lnTo>
                  <a:pt x="0" y="0"/>
                </a:lnTo>
                <a:lnTo>
                  <a:pt x="0" y="387"/>
                </a:lnTo>
                <a:lnTo>
                  <a:pt x="401" y="387"/>
                </a:lnTo>
                <a:lnTo>
                  <a:pt x="401" y="162"/>
                </a:lnTo>
                <a:lnTo>
                  <a:pt x="401" y="1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733885BF-FD3E-99A5-38E3-362834FC7BC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010248" y="2086765"/>
            <a:ext cx="1036367" cy="1230030"/>
          </a:xfrm>
          <a:custGeom>
            <a:avLst/>
            <a:gdLst>
              <a:gd name="T0" fmla="*/ 0 w 393"/>
              <a:gd name="T1" fmla="*/ 162 h 387"/>
              <a:gd name="T2" fmla="*/ 393 w 393"/>
              <a:gd name="T3" fmla="*/ 0 h 387"/>
              <a:gd name="T4" fmla="*/ 393 w 393"/>
              <a:gd name="T5" fmla="*/ 387 h 387"/>
              <a:gd name="T6" fmla="*/ 0 w 393"/>
              <a:gd name="T7" fmla="*/ 387 h 387"/>
              <a:gd name="T8" fmla="*/ 0 w 393"/>
              <a:gd name="T9" fmla="*/ 162 h 387"/>
              <a:gd name="T10" fmla="*/ 0 w 393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3" h="387">
                <a:moveTo>
                  <a:pt x="0" y="162"/>
                </a:moveTo>
                <a:lnTo>
                  <a:pt x="393" y="0"/>
                </a:lnTo>
                <a:lnTo>
                  <a:pt x="393" y="387"/>
                </a:lnTo>
                <a:lnTo>
                  <a:pt x="0" y="387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64E53A4F-8E8E-394B-4B7E-AD3C71327B2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046615" y="2086765"/>
            <a:ext cx="1057466" cy="1230030"/>
          </a:xfrm>
          <a:custGeom>
            <a:avLst/>
            <a:gdLst>
              <a:gd name="T0" fmla="*/ 401 w 401"/>
              <a:gd name="T1" fmla="*/ 162 h 387"/>
              <a:gd name="T2" fmla="*/ 0 w 401"/>
              <a:gd name="T3" fmla="*/ 0 h 387"/>
              <a:gd name="T4" fmla="*/ 0 w 401"/>
              <a:gd name="T5" fmla="*/ 387 h 387"/>
              <a:gd name="T6" fmla="*/ 401 w 401"/>
              <a:gd name="T7" fmla="*/ 387 h 387"/>
              <a:gd name="T8" fmla="*/ 401 w 401"/>
              <a:gd name="T9" fmla="*/ 162 h 387"/>
              <a:gd name="T10" fmla="*/ 401 w 401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1" h="387">
                <a:moveTo>
                  <a:pt x="401" y="162"/>
                </a:moveTo>
                <a:lnTo>
                  <a:pt x="0" y="0"/>
                </a:lnTo>
                <a:lnTo>
                  <a:pt x="0" y="387"/>
                </a:lnTo>
                <a:lnTo>
                  <a:pt x="401" y="387"/>
                </a:lnTo>
                <a:lnTo>
                  <a:pt x="401" y="162"/>
                </a:lnTo>
                <a:lnTo>
                  <a:pt x="401" y="1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DBB11123-98FC-E95A-6E15-2F2FFF0E9D4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650287" y="2686217"/>
            <a:ext cx="1395011" cy="1255457"/>
          </a:xfrm>
          <a:custGeom>
            <a:avLst/>
            <a:gdLst>
              <a:gd name="T0" fmla="*/ 0 w 66"/>
              <a:gd name="T1" fmla="*/ 20 h 49"/>
              <a:gd name="T2" fmla="*/ 66 w 66"/>
              <a:gd name="T3" fmla="*/ 0 h 49"/>
              <a:gd name="T4" fmla="*/ 66 w 66"/>
              <a:gd name="T5" fmla="*/ 49 h 49"/>
              <a:gd name="T6" fmla="*/ 0 w 66"/>
              <a:gd name="T7" fmla="*/ 49 h 49"/>
              <a:gd name="T8" fmla="*/ 0 w 66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" h="49">
                <a:moveTo>
                  <a:pt x="0" y="20"/>
                </a:moveTo>
                <a:cubicBezTo>
                  <a:pt x="22" y="14"/>
                  <a:pt x="44" y="7"/>
                  <a:pt x="66" y="0"/>
                </a:cubicBezTo>
                <a:cubicBezTo>
                  <a:pt x="66" y="17"/>
                  <a:pt x="66" y="33"/>
                  <a:pt x="66" y="49"/>
                </a:cubicBezTo>
                <a:cubicBezTo>
                  <a:pt x="44" y="49"/>
                  <a:pt x="22" y="49"/>
                  <a:pt x="0" y="49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956429C-644B-1215-92B9-D7A5E5519F7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045297" y="2686217"/>
            <a:ext cx="1418744" cy="1255457"/>
          </a:xfrm>
          <a:custGeom>
            <a:avLst/>
            <a:gdLst>
              <a:gd name="T0" fmla="*/ 67 w 67"/>
              <a:gd name="T1" fmla="*/ 20 h 49"/>
              <a:gd name="T2" fmla="*/ 0 w 67"/>
              <a:gd name="T3" fmla="*/ 0 h 49"/>
              <a:gd name="T4" fmla="*/ 0 w 67"/>
              <a:gd name="T5" fmla="*/ 49 h 49"/>
              <a:gd name="T6" fmla="*/ 67 w 67"/>
              <a:gd name="T7" fmla="*/ 49 h 49"/>
              <a:gd name="T8" fmla="*/ 67 w 67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49">
                <a:moveTo>
                  <a:pt x="67" y="20"/>
                </a:moveTo>
                <a:cubicBezTo>
                  <a:pt x="44" y="14"/>
                  <a:pt x="22" y="7"/>
                  <a:pt x="0" y="0"/>
                </a:cubicBezTo>
                <a:cubicBezTo>
                  <a:pt x="0" y="17"/>
                  <a:pt x="0" y="33"/>
                  <a:pt x="0" y="49"/>
                </a:cubicBezTo>
                <a:cubicBezTo>
                  <a:pt x="22" y="49"/>
                  <a:pt x="44" y="49"/>
                  <a:pt x="67" y="49"/>
                </a:cubicBezTo>
                <a:cubicBezTo>
                  <a:pt x="67" y="40"/>
                  <a:pt x="67" y="30"/>
                  <a:pt x="67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D6FB2246-4F3F-5FB5-5608-259C5698253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93524" y="3321933"/>
            <a:ext cx="1756289" cy="1255457"/>
          </a:xfrm>
          <a:custGeom>
            <a:avLst/>
            <a:gdLst>
              <a:gd name="T0" fmla="*/ 0 w 83"/>
              <a:gd name="T1" fmla="*/ 20 h 49"/>
              <a:gd name="T2" fmla="*/ 83 w 83"/>
              <a:gd name="T3" fmla="*/ 0 h 49"/>
              <a:gd name="T4" fmla="*/ 83 w 83"/>
              <a:gd name="T5" fmla="*/ 49 h 49"/>
              <a:gd name="T6" fmla="*/ 0 w 83"/>
              <a:gd name="T7" fmla="*/ 49 h 49"/>
              <a:gd name="T8" fmla="*/ 0 w 83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3" h="49">
                <a:moveTo>
                  <a:pt x="0" y="20"/>
                </a:moveTo>
                <a:cubicBezTo>
                  <a:pt x="28" y="14"/>
                  <a:pt x="56" y="7"/>
                  <a:pt x="83" y="0"/>
                </a:cubicBezTo>
                <a:cubicBezTo>
                  <a:pt x="83" y="17"/>
                  <a:pt x="83" y="33"/>
                  <a:pt x="83" y="49"/>
                </a:cubicBezTo>
                <a:cubicBezTo>
                  <a:pt x="56" y="49"/>
                  <a:pt x="28" y="49"/>
                  <a:pt x="0" y="49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Freeform 10">
            <a:extLst>
              <a:ext uri="{FF2B5EF4-FFF2-40B4-BE49-F238E27FC236}">
                <a16:creationId xmlns:a16="http://schemas.microsoft.com/office/drawing/2014/main" id="{1413DE71-DE64-74E8-5DDD-B4777E59E7B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049813" y="3321933"/>
            <a:ext cx="1756289" cy="1255457"/>
          </a:xfrm>
          <a:custGeom>
            <a:avLst/>
            <a:gdLst>
              <a:gd name="T0" fmla="*/ 83 w 83"/>
              <a:gd name="T1" fmla="*/ 20 h 49"/>
              <a:gd name="T2" fmla="*/ 0 w 83"/>
              <a:gd name="T3" fmla="*/ 0 h 49"/>
              <a:gd name="T4" fmla="*/ 0 w 83"/>
              <a:gd name="T5" fmla="*/ 49 h 49"/>
              <a:gd name="T6" fmla="*/ 83 w 83"/>
              <a:gd name="T7" fmla="*/ 49 h 49"/>
              <a:gd name="T8" fmla="*/ 83 w 83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3" h="49">
                <a:moveTo>
                  <a:pt x="83" y="20"/>
                </a:moveTo>
                <a:cubicBezTo>
                  <a:pt x="56" y="14"/>
                  <a:pt x="28" y="7"/>
                  <a:pt x="0" y="0"/>
                </a:cubicBezTo>
                <a:cubicBezTo>
                  <a:pt x="0" y="17"/>
                  <a:pt x="0" y="33"/>
                  <a:pt x="0" y="49"/>
                </a:cubicBezTo>
                <a:cubicBezTo>
                  <a:pt x="28" y="49"/>
                  <a:pt x="56" y="49"/>
                  <a:pt x="83" y="49"/>
                </a:cubicBezTo>
                <a:cubicBezTo>
                  <a:pt x="83" y="40"/>
                  <a:pt x="83" y="30"/>
                  <a:pt x="83" y="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50C8626E-A01A-0CDD-053C-C5D7F3C7F37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33565" y="4035445"/>
            <a:ext cx="2114930" cy="1280885"/>
          </a:xfrm>
          <a:custGeom>
            <a:avLst/>
            <a:gdLst>
              <a:gd name="T0" fmla="*/ 0 w 100"/>
              <a:gd name="T1" fmla="*/ 20 h 50"/>
              <a:gd name="T2" fmla="*/ 100 w 100"/>
              <a:gd name="T3" fmla="*/ 0 h 50"/>
              <a:gd name="T4" fmla="*/ 100 w 100"/>
              <a:gd name="T5" fmla="*/ 50 h 50"/>
              <a:gd name="T6" fmla="*/ 0 w 100"/>
              <a:gd name="T7" fmla="*/ 50 h 50"/>
              <a:gd name="T8" fmla="*/ 0 w 100"/>
              <a:gd name="T9" fmla="*/ 2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50">
                <a:moveTo>
                  <a:pt x="0" y="20"/>
                </a:moveTo>
                <a:cubicBezTo>
                  <a:pt x="34" y="13"/>
                  <a:pt x="67" y="7"/>
                  <a:pt x="100" y="0"/>
                </a:cubicBezTo>
                <a:cubicBezTo>
                  <a:pt x="100" y="16"/>
                  <a:pt x="100" y="33"/>
                  <a:pt x="100" y="50"/>
                </a:cubicBezTo>
                <a:cubicBezTo>
                  <a:pt x="67" y="50"/>
                  <a:pt x="34" y="50"/>
                  <a:pt x="0" y="50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4FEE1A90-D257-8E81-9A29-38757E235F1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048495" y="4035445"/>
            <a:ext cx="2117566" cy="1280885"/>
          </a:xfrm>
          <a:custGeom>
            <a:avLst/>
            <a:gdLst>
              <a:gd name="T0" fmla="*/ 100 w 100"/>
              <a:gd name="T1" fmla="*/ 20 h 50"/>
              <a:gd name="T2" fmla="*/ 0 w 100"/>
              <a:gd name="T3" fmla="*/ 0 h 50"/>
              <a:gd name="T4" fmla="*/ 0 w 100"/>
              <a:gd name="T5" fmla="*/ 50 h 50"/>
              <a:gd name="T6" fmla="*/ 100 w 100"/>
              <a:gd name="T7" fmla="*/ 50 h 50"/>
              <a:gd name="T8" fmla="*/ 100 w 100"/>
              <a:gd name="T9" fmla="*/ 2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50">
                <a:moveTo>
                  <a:pt x="100" y="20"/>
                </a:moveTo>
                <a:cubicBezTo>
                  <a:pt x="67" y="13"/>
                  <a:pt x="33" y="7"/>
                  <a:pt x="0" y="0"/>
                </a:cubicBezTo>
                <a:cubicBezTo>
                  <a:pt x="0" y="16"/>
                  <a:pt x="0" y="33"/>
                  <a:pt x="0" y="50"/>
                </a:cubicBezTo>
                <a:cubicBezTo>
                  <a:pt x="33" y="50"/>
                  <a:pt x="67" y="50"/>
                  <a:pt x="100" y="50"/>
                </a:cubicBezTo>
                <a:cubicBezTo>
                  <a:pt x="100" y="40"/>
                  <a:pt x="100" y="30"/>
                  <a:pt x="100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D3FF73AE-C876-EDBF-5ED4-A59AFA1128C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594293" y="4751589"/>
            <a:ext cx="2452474" cy="1306312"/>
          </a:xfrm>
          <a:custGeom>
            <a:avLst/>
            <a:gdLst>
              <a:gd name="T0" fmla="*/ 0 w 116"/>
              <a:gd name="T1" fmla="*/ 21 h 51"/>
              <a:gd name="T2" fmla="*/ 116 w 116"/>
              <a:gd name="T3" fmla="*/ 0 h 51"/>
              <a:gd name="T4" fmla="*/ 116 w 116"/>
              <a:gd name="T5" fmla="*/ 51 h 51"/>
              <a:gd name="T6" fmla="*/ 0 w 116"/>
              <a:gd name="T7" fmla="*/ 51 h 51"/>
              <a:gd name="T8" fmla="*/ 0 w 116"/>
              <a:gd name="T9" fmla="*/ 2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" h="51">
                <a:moveTo>
                  <a:pt x="0" y="21"/>
                </a:moveTo>
                <a:cubicBezTo>
                  <a:pt x="39" y="14"/>
                  <a:pt x="77" y="7"/>
                  <a:pt x="116" y="0"/>
                </a:cubicBezTo>
                <a:cubicBezTo>
                  <a:pt x="116" y="17"/>
                  <a:pt x="116" y="34"/>
                  <a:pt x="116" y="51"/>
                </a:cubicBezTo>
                <a:cubicBezTo>
                  <a:pt x="77" y="51"/>
                  <a:pt x="39" y="51"/>
                  <a:pt x="0" y="51"/>
                </a:cubicBezTo>
                <a:cubicBezTo>
                  <a:pt x="0" y="41"/>
                  <a:pt x="0" y="31"/>
                  <a:pt x="0" y="2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Freeform 14">
            <a:extLst>
              <a:ext uri="{FF2B5EF4-FFF2-40B4-BE49-F238E27FC236}">
                <a16:creationId xmlns:a16="http://schemas.microsoft.com/office/drawing/2014/main" id="{4B7A1FA5-B600-AC26-CDD1-A212A5ED345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046768" y="4751589"/>
            <a:ext cx="2476210" cy="1306312"/>
          </a:xfrm>
          <a:custGeom>
            <a:avLst/>
            <a:gdLst>
              <a:gd name="T0" fmla="*/ 117 w 117"/>
              <a:gd name="T1" fmla="*/ 21 h 51"/>
              <a:gd name="T2" fmla="*/ 0 w 117"/>
              <a:gd name="T3" fmla="*/ 0 h 51"/>
              <a:gd name="T4" fmla="*/ 0 w 117"/>
              <a:gd name="T5" fmla="*/ 51 h 51"/>
              <a:gd name="T6" fmla="*/ 117 w 117"/>
              <a:gd name="T7" fmla="*/ 51 h 51"/>
              <a:gd name="T8" fmla="*/ 117 w 117"/>
              <a:gd name="T9" fmla="*/ 2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7" h="51">
                <a:moveTo>
                  <a:pt x="117" y="21"/>
                </a:moveTo>
                <a:cubicBezTo>
                  <a:pt x="78" y="14"/>
                  <a:pt x="39" y="7"/>
                  <a:pt x="0" y="0"/>
                </a:cubicBezTo>
                <a:cubicBezTo>
                  <a:pt x="0" y="17"/>
                  <a:pt x="0" y="34"/>
                  <a:pt x="0" y="51"/>
                </a:cubicBezTo>
                <a:cubicBezTo>
                  <a:pt x="39" y="51"/>
                  <a:pt x="78" y="51"/>
                  <a:pt x="117" y="51"/>
                </a:cubicBezTo>
                <a:cubicBezTo>
                  <a:pt x="117" y="41"/>
                  <a:pt x="117" y="31"/>
                  <a:pt x="117" y="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2E19922-6531-16F4-AD27-E0A75520B9FA}"/>
              </a:ext>
            </a:extLst>
          </p:cNvPr>
          <p:cNvSpPr txBox="1">
            <a:spLocks/>
          </p:cNvSpPr>
          <p:nvPr/>
        </p:nvSpPr>
        <p:spPr>
          <a:xfrm>
            <a:off x="9670458" y="2265438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2_content,max_token=50}</a:t>
            </a:r>
          </a:p>
        </p:txBody>
      </p:sp>
      <p:sp>
        <p:nvSpPr>
          <p:cNvPr id="18" name="TextBox 37">
            <a:extLst>
              <a:ext uri="{FF2B5EF4-FFF2-40B4-BE49-F238E27FC236}">
                <a16:creationId xmlns:a16="http://schemas.microsoft.com/office/drawing/2014/main" id="{7672BF24-5413-8AD7-3D14-324CF3A13836}"/>
              </a:ext>
            </a:extLst>
          </p:cNvPr>
          <p:cNvSpPr txBox="1">
            <a:spLocks/>
          </p:cNvSpPr>
          <p:nvPr/>
        </p:nvSpPr>
        <p:spPr>
          <a:xfrm>
            <a:off x="9670459" y="1922467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}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7E497DC-5E52-539F-BC45-91F7F431F699}"/>
              </a:ext>
            </a:extLst>
          </p:cNvPr>
          <p:cNvSpPr txBox="1">
            <a:spLocks/>
          </p:cNvSpPr>
          <p:nvPr/>
        </p:nvSpPr>
        <p:spPr>
          <a:xfrm>
            <a:off x="9670459" y="3631701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4_content,max_token=50}</a:t>
            </a:r>
          </a:p>
        </p:txBody>
      </p:sp>
      <p:sp>
        <p:nvSpPr>
          <p:cNvPr id="20" name="TextBox 40">
            <a:extLst>
              <a:ext uri="{FF2B5EF4-FFF2-40B4-BE49-F238E27FC236}">
                <a16:creationId xmlns:a16="http://schemas.microsoft.com/office/drawing/2014/main" id="{D9A3BCD1-3CF2-F860-5F18-767F7C88A5DE}"/>
              </a:ext>
            </a:extLst>
          </p:cNvPr>
          <p:cNvSpPr txBox="1">
            <a:spLocks/>
          </p:cNvSpPr>
          <p:nvPr/>
        </p:nvSpPr>
        <p:spPr>
          <a:xfrm>
            <a:off x="9670458" y="3288728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4}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0C95BAA-0F04-2415-A586-A50A754BD75F}"/>
              </a:ext>
            </a:extLst>
          </p:cNvPr>
          <p:cNvSpPr txBox="1">
            <a:spLocks/>
          </p:cNvSpPr>
          <p:nvPr/>
        </p:nvSpPr>
        <p:spPr>
          <a:xfrm>
            <a:off x="9670459" y="5032200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6_content,max_token=50}</a:t>
            </a:r>
          </a:p>
        </p:txBody>
      </p:sp>
      <p:sp>
        <p:nvSpPr>
          <p:cNvPr id="22" name="TextBox 42">
            <a:extLst>
              <a:ext uri="{FF2B5EF4-FFF2-40B4-BE49-F238E27FC236}">
                <a16:creationId xmlns:a16="http://schemas.microsoft.com/office/drawing/2014/main" id="{A258AF40-6A69-EB76-61F2-30D29DDA4CB1}"/>
              </a:ext>
            </a:extLst>
          </p:cNvPr>
          <p:cNvSpPr txBox="1">
            <a:spLocks/>
          </p:cNvSpPr>
          <p:nvPr/>
        </p:nvSpPr>
        <p:spPr>
          <a:xfrm>
            <a:off x="9670458" y="4689227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6}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76AF2EFA-23CB-F507-8EEE-F4B0CAFAFD6F}"/>
              </a:ext>
            </a:extLst>
          </p:cNvPr>
          <p:cNvSpPr txBox="1">
            <a:spLocks/>
          </p:cNvSpPr>
          <p:nvPr/>
        </p:nvSpPr>
        <p:spPr>
          <a:xfrm>
            <a:off x="407988" y="2279969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1_content,max_token=50}</a:t>
            </a:r>
          </a:p>
        </p:txBody>
      </p:sp>
      <p:sp>
        <p:nvSpPr>
          <p:cNvPr id="24" name="TextBox 66">
            <a:extLst>
              <a:ext uri="{FF2B5EF4-FFF2-40B4-BE49-F238E27FC236}">
                <a16:creationId xmlns:a16="http://schemas.microsoft.com/office/drawing/2014/main" id="{1BA37F6A-ADE1-E1A5-5036-5259711749D9}"/>
              </a:ext>
            </a:extLst>
          </p:cNvPr>
          <p:cNvSpPr txBox="1">
            <a:spLocks/>
          </p:cNvSpPr>
          <p:nvPr/>
        </p:nvSpPr>
        <p:spPr>
          <a:xfrm>
            <a:off x="407988" y="1922467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7AA319F4-8C35-F751-563E-F98D69EF2C99}"/>
              </a:ext>
            </a:extLst>
          </p:cNvPr>
          <p:cNvSpPr txBox="1">
            <a:spLocks/>
          </p:cNvSpPr>
          <p:nvPr/>
        </p:nvSpPr>
        <p:spPr>
          <a:xfrm>
            <a:off x="407988" y="3621346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3_content,max_token=50}</a:t>
            </a:r>
          </a:p>
        </p:txBody>
      </p:sp>
      <p:sp>
        <p:nvSpPr>
          <p:cNvPr id="26" name="TextBox 68">
            <a:extLst>
              <a:ext uri="{FF2B5EF4-FFF2-40B4-BE49-F238E27FC236}">
                <a16:creationId xmlns:a16="http://schemas.microsoft.com/office/drawing/2014/main" id="{EC6B4ED3-C40E-5C4F-30C5-9622436F2A15}"/>
              </a:ext>
            </a:extLst>
          </p:cNvPr>
          <p:cNvSpPr txBox="1">
            <a:spLocks/>
          </p:cNvSpPr>
          <p:nvPr/>
        </p:nvSpPr>
        <p:spPr>
          <a:xfrm>
            <a:off x="407988" y="3288728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}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14C21671-6D65-8801-1761-E413D9E22F0E}"/>
              </a:ext>
            </a:extLst>
          </p:cNvPr>
          <p:cNvSpPr txBox="1">
            <a:spLocks/>
          </p:cNvSpPr>
          <p:nvPr/>
        </p:nvSpPr>
        <p:spPr>
          <a:xfrm>
            <a:off x="407988" y="5032200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5_content,max_token=50}</a:t>
            </a:r>
          </a:p>
        </p:txBody>
      </p:sp>
      <p:sp>
        <p:nvSpPr>
          <p:cNvPr id="28" name="TextBox 70">
            <a:extLst>
              <a:ext uri="{FF2B5EF4-FFF2-40B4-BE49-F238E27FC236}">
                <a16:creationId xmlns:a16="http://schemas.microsoft.com/office/drawing/2014/main" id="{9F4B30BD-0EDC-A963-E926-EAF3BEAB6311}"/>
              </a:ext>
            </a:extLst>
          </p:cNvPr>
          <p:cNvSpPr txBox="1">
            <a:spLocks/>
          </p:cNvSpPr>
          <p:nvPr/>
        </p:nvSpPr>
        <p:spPr>
          <a:xfrm>
            <a:off x="407988" y="4689227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5}</a:t>
            </a:r>
          </a:p>
        </p:txBody>
      </p:sp>
      <p:pic>
        <p:nvPicPr>
          <p:cNvPr id="29" name="Grafik 42">
            <a:extLst>
              <a:ext uri="{FF2B5EF4-FFF2-40B4-BE49-F238E27FC236}">
                <a16:creationId xmlns:a16="http://schemas.microsoft.com/office/drawing/2014/main" id="{3C06248F-FDDD-79A8-C5A1-C4FCB0E14E4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18080" y="4731879"/>
            <a:ext cx="659621" cy="659621"/>
          </a:xfrm>
          <a:prstGeom prst="rect">
            <a:avLst/>
          </a:prstGeom>
        </p:spPr>
      </p:pic>
      <p:pic>
        <p:nvPicPr>
          <p:cNvPr id="30" name="Grafik 44">
            <a:extLst>
              <a:ext uri="{FF2B5EF4-FFF2-40B4-BE49-F238E27FC236}">
                <a16:creationId xmlns:a16="http://schemas.microsoft.com/office/drawing/2014/main" id="{AF78E804-8B4A-A27F-F9FE-F49BE75C6A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718080" y="3331378"/>
            <a:ext cx="659621" cy="659621"/>
          </a:xfrm>
          <a:prstGeom prst="rect">
            <a:avLst/>
          </a:prstGeom>
        </p:spPr>
      </p:pic>
      <p:pic>
        <p:nvPicPr>
          <p:cNvPr id="31" name="Grafik 46">
            <a:extLst>
              <a:ext uri="{FF2B5EF4-FFF2-40B4-BE49-F238E27FC236}">
                <a16:creationId xmlns:a16="http://schemas.microsoft.com/office/drawing/2014/main" id="{542580A8-80C3-D2CC-6653-4D9E3DF2D4B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718080" y="1965118"/>
            <a:ext cx="659621" cy="659621"/>
          </a:xfrm>
          <a:prstGeom prst="rect">
            <a:avLst/>
          </a:prstGeom>
        </p:spPr>
      </p:pic>
      <p:pic>
        <p:nvPicPr>
          <p:cNvPr id="32" name="Grafik 47">
            <a:extLst>
              <a:ext uri="{FF2B5EF4-FFF2-40B4-BE49-F238E27FC236}">
                <a16:creationId xmlns:a16="http://schemas.microsoft.com/office/drawing/2014/main" id="{B28C34DA-E274-0BB5-CC04-C2A4CD45140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856358" y="1965118"/>
            <a:ext cx="659621" cy="659621"/>
          </a:xfrm>
          <a:prstGeom prst="rect">
            <a:avLst/>
          </a:prstGeom>
        </p:spPr>
      </p:pic>
      <p:pic>
        <p:nvPicPr>
          <p:cNvPr id="33" name="Grafik 48">
            <a:extLst>
              <a:ext uri="{FF2B5EF4-FFF2-40B4-BE49-F238E27FC236}">
                <a16:creationId xmlns:a16="http://schemas.microsoft.com/office/drawing/2014/main" id="{A63F5EB8-7769-21C9-8AC1-76A2D4D4D75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861347" y="3331378"/>
            <a:ext cx="659621" cy="659621"/>
          </a:xfrm>
          <a:prstGeom prst="rect">
            <a:avLst/>
          </a:prstGeom>
        </p:spPr>
      </p:pic>
      <p:pic>
        <p:nvPicPr>
          <p:cNvPr id="34" name="Grafik 49">
            <a:extLst>
              <a:ext uri="{FF2B5EF4-FFF2-40B4-BE49-F238E27FC236}">
                <a16:creationId xmlns:a16="http://schemas.microsoft.com/office/drawing/2014/main" id="{9FDB258B-0561-4C2A-8C8A-367287AACAA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861347" y="4731879"/>
            <a:ext cx="659621" cy="659621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63739AD-7506-3538-ACAA-88A90E38C4E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346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ziggurats, pyramid, pyramids, icon, icons, diagrams</a:t>
            </a:r>
          </a:p>
        </p:txBody>
      </p:sp>
    </p:spTree>
    <p:extLst>
      <p:ext uri="{BB962C8B-B14F-4D97-AF65-F5344CB8AC3E}">
        <p14:creationId xmlns:p14="http://schemas.microsoft.com/office/powerpoint/2010/main" val="2746267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4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3T06:37:31Z</dcterms:created>
  <dcterms:modified xsi:type="dcterms:W3CDTF">2025-09-03T06:37:36Z</dcterms:modified>
</cp:coreProperties>
</file>